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0"/>
  </p:notesMasterIdLst>
  <p:handoutMasterIdLst>
    <p:handoutMasterId r:id="rId21"/>
  </p:handoutMasterIdLst>
  <p:sldIdLst>
    <p:sldId id="388" r:id="rId5"/>
    <p:sldId id="386" r:id="rId6"/>
    <p:sldId id="395" r:id="rId7"/>
    <p:sldId id="396" r:id="rId8"/>
    <p:sldId id="397" r:id="rId9"/>
    <p:sldId id="416" r:id="rId10"/>
    <p:sldId id="398" r:id="rId11"/>
    <p:sldId id="399" r:id="rId12"/>
    <p:sldId id="417" r:id="rId13"/>
    <p:sldId id="400" r:id="rId14"/>
    <p:sldId id="418" r:id="rId15"/>
    <p:sldId id="387" r:id="rId16"/>
    <p:sldId id="415" r:id="rId17"/>
    <p:sldId id="406" r:id="rId18"/>
    <p:sldId id="336" r:id="rId19"/>
  </p:sldIdLst>
  <p:sldSz cx="9144000" cy="5143500" type="screen16x9"/>
  <p:notesSz cx="6858000" cy="9144000"/>
  <p:embeddedFontLst>
    <p:embeddedFont>
      <p:font typeface="HP Simplified" panose="020B0604020202020204" charset="0"/>
      <p:regular r:id="rId22"/>
      <p:bold r:id="rId23"/>
      <p:italic r:id="rId24"/>
      <p:boldItalic r:id="rId25"/>
    </p:embeddedFont>
    <p:embeddedFont>
      <p:font typeface="Futura Hv" panose="020B0702020204020204" charset="0"/>
      <p:regular r:id="rId26"/>
    </p:embeddedFont>
    <p:embeddedFont>
      <p:font typeface="Tahoma" panose="020B0604030504040204" pitchFamily="34" charset="0"/>
      <p:regular r:id="rId27"/>
      <p:bold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Lucida Grande" panose="020B0604020202020204" charset="0"/>
      <p:regular r:id="rId33"/>
      <p:bold r:id="rId34"/>
      <p:italic r:id="rId35"/>
      <p:boldItalic r:id="rId36"/>
    </p:embeddedFont>
    <p:embeddedFont>
      <p:font typeface="Futura Bk" panose="020B0502020204020303" charset="0"/>
      <p:regular r:id="rId37"/>
      <p:bold r:id="rId38"/>
      <p:italic r:id="rId39"/>
    </p:embeddedFont>
  </p:embeddedFontLst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B9B8BB"/>
    <a:srgbClr val="01B0FF"/>
    <a:srgbClr val="0C559A"/>
    <a:srgbClr val="1A5D9D"/>
    <a:srgbClr val="0D5297"/>
    <a:srgbClr val="00A4EE"/>
    <a:srgbClr val="1098D2"/>
    <a:srgbClr val="FAAF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8" d="100"/>
          <a:sy n="98" d="100"/>
        </p:scale>
        <p:origin x="438" y="96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20" Type="http://schemas.openxmlformats.org/officeDocument/2006/relationships/notesMaster" Target="notesMasters/notesMaster1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7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7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devops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2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0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2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ightscale.com/blog/cloud-industry-insights/cloud-computing-trends-2015-state-cloud-survey" TargetMode="External"/><Relationship Id="rId2" Type="http://schemas.openxmlformats.org/officeDocument/2006/relationships/hyperlink" Target="http://opensource.com/business/13/11/docker-fedora-red-hat-collaboration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iron.io/blog/2014/04/how-docker-helped-us-achieve-near.html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368203"/>
            <a:ext cx="9144000" cy="99507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How Docker Fits into the DevOps Ecosystem?</a:t>
            </a:r>
            <a:endParaRPr lang="en-US" sz="2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3020" y="1253064"/>
            <a:ext cx="3554786" cy="19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ocker – a DevOps ally</a:t>
            </a:r>
            <a:endParaRPr lang="en-IN" dirty="0">
              <a:solidFill>
                <a:srgbClr val="262626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167736" y="1547736"/>
            <a:ext cx="4456406" cy="2960095"/>
            <a:chOff x="2343796" y="1237617"/>
            <a:chExt cx="4456406" cy="296009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43796" y="1237617"/>
              <a:ext cx="4456406" cy="2960095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65385" y="3835762"/>
              <a:ext cx="676275" cy="361950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337902" y="869029"/>
            <a:ext cx="8279308" cy="646986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Docker has been designed in such a way that it can be incorporated into most DevOps tools including Puppet, Chef, Vagrant, and 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Ansible etc.</a:t>
            </a:r>
          </a:p>
        </p:txBody>
      </p:sp>
    </p:spTree>
    <p:extLst>
      <p:ext uri="{BB962C8B-B14F-4D97-AF65-F5344CB8AC3E}">
        <p14:creationId xmlns:p14="http://schemas.microsoft.com/office/powerpoint/2010/main" val="389663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evOpping with Docker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573" y="997793"/>
            <a:ext cx="6972300" cy="338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3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nds-on</a:t>
            </a:r>
            <a:endParaRPr lang="en-US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etting Started With Docker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81793" y="133755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Reference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1793" y="914400"/>
            <a:ext cx="9014391" cy="2421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Red Hat and Docker together :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  <a:hlinkClick r:id="rId2"/>
              </a:rPr>
              <a:t>http://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  <a:hlinkClick r:id="rId2"/>
              </a:rPr>
              <a:t>opensource.com/business/13/11/docker-fedora-red-hat-collaboration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  </a:t>
            </a: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Docker Soars in DevOps: </a:t>
            </a: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  <a:hlinkClick r:id="rId3"/>
              </a:rPr>
              <a:t>http://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  <a:hlinkClick r:id="rId3"/>
              </a:rPr>
              <a:t>www.rightscale.com/blog/cloud-industry-insights/cloud-computing-trends-2015-state-cloud-survey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 </a:t>
            </a: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How Docker helped achieve almost Impossible :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  <a:hlinkClick r:id="rId4"/>
              </a:rPr>
              <a:t>http://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  <a:hlinkClick r:id="rId4"/>
              </a:rPr>
              <a:t>www.iron.io/blog/2014/04/how-docker-helped-us-achieve-near.html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9097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38521" y="172667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Survey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6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 …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What is Docker ?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Docker Container is different from Virtual Machines ?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cker a DevOps ally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Opping with Docker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nds-On Getting Started with Docker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Familiar Expressions, Isn’t I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872" y="1277161"/>
            <a:ext cx="4257675" cy="2667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60" y="1036281"/>
            <a:ext cx="2519008" cy="314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2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’s the problem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43974" y="2013626"/>
            <a:ext cx="5554494" cy="374571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Development and Production environment are not the same</a:t>
            </a:r>
          </a:p>
        </p:txBody>
      </p:sp>
    </p:spTree>
    <p:extLst>
      <p:ext uri="{BB962C8B-B14F-4D97-AF65-F5344CB8AC3E}">
        <p14:creationId xmlns:p14="http://schemas.microsoft.com/office/powerpoint/2010/main" val="26715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ow to solve it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2604" y="1481222"/>
            <a:ext cx="4355523" cy="297872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3114" y="836579"/>
            <a:ext cx="7003915" cy="374571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Make sure Development and Production environment both are same</a:t>
            </a:r>
          </a:p>
        </p:txBody>
      </p:sp>
    </p:spTree>
    <p:extLst>
      <p:ext uri="{BB962C8B-B14F-4D97-AF65-F5344CB8AC3E}">
        <p14:creationId xmlns:p14="http://schemas.microsoft.com/office/powerpoint/2010/main" val="9396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73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8550829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ocker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484" y="2539150"/>
            <a:ext cx="5152516" cy="175003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4139" y="1215957"/>
            <a:ext cx="8200202" cy="919401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Docker is an </a:t>
            </a:r>
            <a:r>
              <a:rPr lang="en-US" sz="1600" dirty="0" smtClean="0">
                <a:solidFill>
                  <a:srgbClr val="00B0F0"/>
                </a:solidFill>
                <a:cs typeface="HP Simplified" pitchFamily="34" charset="0"/>
              </a:rPr>
              <a:t>open platform which </a:t>
            </a:r>
            <a:r>
              <a:rPr lang="en-US" sz="1600" dirty="0" smtClean="0">
                <a:solidFill>
                  <a:srgbClr val="00B0F0"/>
                </a:solidFill>
              </a:rPr>
              <a:t>packages </a:t>
            </a:r>
            <a:r>
              <a:rPr lang="en-US" sz="1600" dirty="0">
                <a:solidFill>
                  <a:srgbClr val="00B0F0"/>
                </a:solidFill>
              </a:rPr>
              <a:t>your application, dependencies and configurations </a:t>
            </a:r>
            <a:r>
              <a:rPr lang="en-US" sz="1600" dirty="0"/>
              <a:t>together to ensure that your application will work seamlessly in </a:t>
            </a:r>
            <a:r>
              <a:rPr lang="en-US" sz="1600" dirty="0">
                <a:solidFill>
                  <a:srgbClr val="00B0F0"/>
                </a:solidFill>
              </a:rPr>
              <a:t>any environment on any infrastructure</a:t>
            </a:r>
            <a:r>
              <a:rPr lang="en-US" sz="1600" dirty="0"/>
              <a:t> just like it did on your machine</a:t>
            </a:r>
            <a:endParaRPr lang="en-US" sz="1600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01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eep Thoughts …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9918" y="1880684"/>
            <a:ext cx="2639428" cy="2639428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4848633" y="678671"/>
            <a:ext cx="1783807" cy="1439693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600" dirty="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o does that mean Docker is a virtual machine?</a:t>
            </a:r>
            <a:endParaRPr lang="en-US" sz="160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60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58943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ifference between Docker and Virtual Machines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3856" y="1728070"/>
            <a:ext cx="2483995" cy="270282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233" y="2244594"/>
            <a:ext cx="3112979" cy="222560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050603" y="4361560"/>
            <a:ext cx="15905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Virtual Machin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57207" y="4341765"/>
            <a:ext cx="1707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Docker Contain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9259" y="921907"/>
            <a:ext cx="8470139" cy="703739"/>
          </a:xfrm>
          <a:prstGeom prst="round2DiagRect">
            <a:avLst/>
          </a:prstGeom>
          <a:noFill/>
          <a:ln>
            <a:solidFill>
              <a:srgbClr val="37C1FF"/>
            </a:solidFill>
          </a:ln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Docker containers share the kernel with other containers while in Virtual Machines each application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s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hips with its own guest operating system</a:t>
            </a:r>
          </a:p>
        </p:txBody>
      </p:sp>
    </p:spTree>
    <p:extLst>
      <p:ext uri="{BB962C8B-B14F-4D97-AF65-F5344CB8AC3E}">
        <p14:creationId xmlns:p14="http://schemas.microsoft.com/office/powerpoint/2010/main" val="397244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70</TotalTime>
  <Words>272</Words>
  <Application>Microsoft Office PowerPoint</Application>
  <PresentationFormat>On-screen Show (16:9)</PresentationFormat>
  <Paragraphs>4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HP Simplified</vt:lpstr>
      <vt:lpstr>Futura Hv</vt:lpstr>
      <vt:lpstr>Arial</vt:lpstr>
      <vt:lpstr>Tahoma</vt:lpstr>
      <vt:lpstr>Calibri</vt:lpstr>
      <vt:lpstr>Courier New</vt:lpstr>
      <vt:lpstr>Lucida Grande</vt:lpstr>
      <vt:lpstr>Wingdings</vt:lpstr>
      <vt:lpstr>Futura Bk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tab Alam</dc:creator>
  <cp:lastModifiedBy>Mahtab Alam</cp:lastModifiedBy>
  <cp:revision>218</cp:revision>
  <cp:lastPrinted>2012-04-13T15:38:33Z</cp:lastPrinted>
  <dcterms:created xsi:type="dcterms:W3CDTF">2012-05-02T14:03:12Z</dcterms:created>
  <dcterms:modified xsi:type="dcterms:W3CDTF">2015-10-27T05:16:54Z</dcterms:modified>
</cp:coreProperties>
</file>